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6" r:id="rId6"/>
    <p:sldMasterId id="2147483698" r:id="rId7"/>
    <p:sldMasterId id="2147483722" r:id="rId8"/>
    <p:sldMasterId id="2147483734" r:id="rId9"/>
    <p:sldMasterId id="2147483739" r:id="rId10"/>
    <p:sldMasterId id="2147483757" r:id="rId11"/>
  </p:sldMasterIdLst>
  <p:notesMasterIdLst>
    <p:notesMasterId r:id="rId27"/>
  </p:notesMasterIdLst>
  <p:sldIdLst>
    <p:sldId id="546" r:id="rId12"/>
    <p:sldId id="2142533147" r:id="rId13"/>
    <p:sldId id="2142533148" r:id="rId14"/>
    <p:sldId id="2142533151" r:id="rId15"/>
    <p:sldId id="2142533152" r:id="rId16"/>
    <p:sldId id="2142533153" r:id="rId17"/>
    <p:sldId id="2142533154" r:id="rId18"/>
    <p:sldId id="2142533155" r:id="rId19"/>
    <p:sldId id="2142533150" r:id="rId20"/>
    <p:sldId id="2142533159" r:id="rId21"/>
    <p:sldId id="2142533160" r:id="rId22"/>
    <p:sldId id="2142533161" r:id="rId23"/>
    <p:sldId id="2142533110" r:id="rId24"/>
    <p:sldId id="2142533111" r:id="rId25"/>
    <p:sldId id="2142533158" r:id="rId2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clair Megan" initials="AM" lastIdx="15" clrIdx="0">
    <p:extLst>
      <p:ext uri="{19B8F6BF-5375-455C-9EA6-DF929625EA0E}">
        <p15:presenceInfo xmlns:p15="http://schemas.microsoft.com/office/powerpoint/2012/main" userId="S::MEGAN.AUCLAIR@dhsoha.state.or.us::99bb00b3-648d-4d05-ade9-7fba13ecd390" providerId="AD"/>
      </p:ext>
    </p:extLst>
  </p:cmAuthor>
  <p:cmAuthor id="2" name="Jagger Dawn A" initials="JDA" lastIdx="24" clrIdx="1">
    <p:extLst>
      <p:ext uri="{19B8F6BF-5375-455C-9EA6-DF929625EA0E}">
        <p15:presenceInfo xmlns:p15="http://schemas.microsoft.com/office/powerpoint/2012/main" userId="S::Dawn.Jagger@dhsoha.state.or.us::d071b6ef-0c90-481a-9290-0640c9abffc6" providerId="AD"/>
      </p:ext>
    </p:extLst>
  </p:cmAuthor>
  <p:cmAuthor id="3" name="Hargunani Dana" initials="HD" lastIdx="10" clrIdx="2">
    <p:extLst>
      <p:ext uri="{19B8F6BF-5375-455C-9EA6-DF929625EA0E}">
        <p15:presenceInfo xmlns:p15="http://schemas.microsoft.com/office/powerpoint/2012/main" userId="S::DANA.HARGUNANI@dhsoha.state.or.us::0ef73ef5-fc48-4753-aeca-3f6dcb41c97b" providerId="AD"/>
      </p:ext>
    </p:extLst>
  </p:cmAuthor>
  <p:cmAuthor id="4" name="Baden David" initials="BD" lastIdx="2" clrIdx="3">
    <p:extLst>
      <p:ext uri="{19B8F6BF-5375-455C-9EA6-DF929625EA0E}">
        <p15:presenceInfo xmlns:p15="http://schemas.microsoft.com/office/powerpoint/2012/main" userId="S::DAVID.BADEN@dhsoha.state.or.us::e92600e9-247a-428e-9b36-5bffffea28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E"/>
    <a:srgbClr val="FCFEFE"/>
    <a:srgbClr val="CCFF33"/>
    <a:srgbClr val="D78D1F"/>
    <a:srgbClr val="EDCA73"/>
    <a:srgbClr val="E5B233"/>
    <a:srgbClr val="89BDBD"/>
    <a:srgbClr val="87B3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D9852E-0273-4FA6-8AA6-4FE7E556FAB6}" v="3" dt="2023-05-12T18:01:18.5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91" autoAdjust="0"/>
    <p:restoredTop sz="94816" autoAdjust="0"/>
  </p:normalViewPr>
  <p:slideViewPr>
    <p:cSldViewPr snapToGrid="0">
      <p:cViewPr varScale="1">
        <p:scale>
          <a:sx n="68" d="100"/>
          <a:sy n="68" d="100"/>
        </p:scale>
        <p:origin x="1296" y="48"/>
      </p:cViewPr>
      <p:guideLst/>
    </p:cSldViewPr>
  </p:slideViewPr>
  <p:outlineViewPr>
    <p:cViewPr>
      <p:scale>
        <a:sx n="33" d="100"/>
        <a:sy n="33" d="100"/>
      </p:scale>
      <p:origin x="0" y="-1730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547" y="5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tton Melissa" userId="094fb5fe-454b-45e9-ac35-fc24109e1590" providerId="ADAL" clId="{A8D9852E-0273-4FA6-8AA6-4FE7E556FAB6}"/>
    <pc:docChg chg="custSel modSld">
      <pc:chgData name="Sutton Melissa" userId="094fb5fe-454b-45e9-ac35-fc24109e1590" providerId="ADAL" clId="{A8D9852E-0273-4FA6-8AA6-4FE7E556FAB6}" dt="2023-05-12T18:01:53.991" v="212" actId="20577"/>
      <pc:docMkLst>
        <pc:docMk/>
      </pc:docMkLst>
      <pc:sldChg chg="modSp mod">
        <pc:chgData name="Sutton Melissa" userId="094fb5fe-454b-45e9-ac35-fc24109e1590" providerId="ADAL" clId="{A8D9852E-0273-4FA6-8AA6-4FE7E556FAB6}" dt="2023-05-12T17:28:06.616" v="58" actId="20577"/>
        <pc:sldMkLst>
          <pc:docMk/>
          <pc:sldMk cId="1374997568" sldId="546"/>
        </pc:sldMkLst>
        <pc:spChg chg="mod">
          <ac:chgData name="Sutton Melissa" userId="094fb5fe-454b-45e9-ac35-fc24109e1590" providerId="ADAL" clId="{A8D9852E-0273-4FA6-8AA6-4FE7E556FAB6}" dt="2023-05-12T17:28:06.616" v="58" actId="20577"/>
          <ac:spMkLst>
            <pc:docMk/>
            <pc:sldMk cId="1374997568" sldId="546"/>
            <ac:spMk id="2" creationId="{B7D17704-AB0F-4AA1-825D-6070B9205E50}"/>
          </ac:spMkLst>
        </pc:spChg>
        <pc:spChg chg="mod">
          <ac:chgData name="Sutton Melissa" userId="094fb5fe-454b-45e9-ac35-fc24109e1590" providerId="ADAL" clId="{A8D9852E-0273-4FA6-8AA6-4FE7E556FAB6}" dt="2023-05-12T17:09:51.457" v="0" actId="6549"/>
          <ac:spMkLst>
            <pc:docMk/>
            <pc:sldMk cId="1374997568" sldId="546"/>
            <ac:spMk id="3" creationId="{71E145F9-826D-474E-9C41-28D251D7F314}"/>
          </ac:spMkLst>
        </pc:spChg>
      </pc:sldChg>
      <pc:sldChg chg="modSp mod">
        <pc:chgData name="Sutton Melissa" userId="094fb5fe-454b-45e9-ac35-fc24109e1590" providerId="ADAL" clId="{A8D9852E-0273-4FA6-8AA6-4FE7E556FAB6}" dt="2023-05-12T17:59:16.298" v="128" actId="20577"/>
        <pc:sldMkLst>
          <pc:docMk/>
          <pc:sldMk cId="1624992943" sldId="2142533159"/>
        </pc:sldMkLst>
        <pc:spChg chg="mod">
          <ac:chgData name="Sutton Melissa" userId="094fb5fe-454b-45e9-ac35-fc24109e1590" providerId="ADAL" clId="{A8D9852E-0273-4FA6-8AA6-4FE7E556FAB6}" dt="2023-05-12T17:59:16.298" v="128" actId="20577"/>
          <ac:spMkLst>
            <pc:docMk/>
            <pc:sldMk cId="1624992943" sldId="2142533159"/>
            <ac:spMk id="3" creationId="{8D09CB41-8439-4DDA-A354-FE90E338256D}"/>
          </ac:spMkLst>
        </pc:spChg>
      </pc:sldChg>
      <pc:sldChg chg="modSp mod">
        <pc:chgData name="Sutton Melissa" userId="094fb5fe-454b-45e9-ac35-fc24109e1590" providerId="ADAL" clId="{A8D9852E-0273-4FA6-8AA6-4FE7E556FAB6}" dt="2023-05-12T18:01:18.563" v="180" actId="14100"/>
        <pc:sldMkLst>
          <pc:docMk/>
          <pc:sldMk cId="3465957445" sldId="2142533160"/>
        </pc:sldMkLst>
        <pc:spChg chg="mod">
          <ac:chgData name="Sutton Melissa" userId="094fb5fe-454b-45e9-ac35-fc24109e1590" providerId="ADAL" clId="{A8D9852E-0273-4FA6-8AA6-4FE7E556FAB6}" dt="2023-05-12T18:01:18.563" v="180" actId="14100"/>
          <ac:spMkLst>
            <pc:docMk/>
            <pc:sldMk cId="3465957445" sldId="2142533160"/>
            <ac:spMk id="3" creationId="{8D09CB41-8439-4DDA-A354-FE90E338256D}"/>
          </ac:spMkLst>
        </pc:spChg>
      </pc:sldChg>
      <pc:sldChg chg="modSp mod">
        <pc:chgData name="Sutton Melissa" userId="094fb5fe-454b-45e9-ac35-fc24109e1590" providerId="ADAL" clId="{A8D9852E-0273-4FA6-8AA6-4FE7E556FAB6}" dt="2023-05-12T18:01:53.991" v="212" actId="20577"/>
        <pc:sldMkLst>
          <pc:docMk/>
          <pc:sldMk cId="1373073538" sldId="2142533161"/>
        </pc:sldMkLst>
        <pc:spChg chg="mod">
          <ac:chgData name="Sutton Melissa" userId="094fb5fe-454b-45e9-ac35-fc24109e1590" providerId="ADAL" clId="{A8D9852E-0273-4FA6-8AA6-4FE7E556FAB6}" dt="2023-05-12T18:01:53.991" v="212" actId="20577"/>
          <ac:spMkLst>
            <pc:docMk/>
            <pc:sldMk cId="1373073538" sldId="2142533161"/>
            <ac:spMk id="3" creationId="{8D09CB41-8439-4DDA-A354-FE90E338256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6CA7AA-5500-45ED-B738-9446AF8C7BF7}" type="datetimeFigureOut">
              <a:rPr lang="en-US" smtClean="0"/>
              <a:t>5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6FCCE0-B1BF-449D-9010-0D09F328A5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9878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FDE1AF-C538-4F4C-A0B8-BD9126001F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82776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044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9/30/2024: “end of the first calendar quarter that </a:t>
            </a:r>
            <a:r>
              <a:rPr lang="en-US" i="1" dirty="0"/>
              <a:t>begins</a:t>
            </a:r>
            <a:r>
              <a:rPr lang="en-US" i="0" dirty="0"/>
              <a:t> at least 1 year after end of public health emergency on May 11, 2023.”</a:t>
            </a:r>
          </a:p>
          <a:p>
            <a:r>
              <a:rPr lang="en-US" i="0" dirty="0"/>
              <a:t>n.b., the waivers could be modified ore terminated at any time; but expire automatically on this time lin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54117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9/30/2024: “end of the first calendar quarter that </a:t>
            </a:r>
            <a:r>
              <a:rPr lang="en-US" i="1" dirty="0"/>
              <a:t>begins</a:t>
            </a:r>
            <a:r>
              <a:rPr lang="en-US" i="0" dirty="0"/>
              <a:t> at least 1 year after end of public health emergency on May 11, 2023.”</a:t>
            </a:r>
          </a:p>
          <a:p>
            <a:r>
              <a:rPr lang="en-US" i="0" dirty="0"/>
              <a:t>n.b., the waivers could be modified ore terminated at any time; but expire automatically on this time lin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86645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4671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0802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062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64373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https://public.tableau.com/app/profile/oregon.public.health.division.acute.and.communicable.disease.pre/viz/OregonsRespiratoryVirusData/TableofCont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70858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https://public.tableau.com/app/profile/oregon.public.health.division.acute.and.communicable.disease.pre/viz/OregonsRespiratoryVirusData/TestPositivity. Accessed: 5/12/23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7377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https://public.tableau.com/app/profile/oregon.health.authority.covid.19/viz/OregonsSARS-CoV-2WastewaterMonitoring/Introduction. Accessed: 5/12/23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4348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https://public.tableau.com/app/profile/oregon.health.authority.covid.19/viz/GISAIDVariantDashboardUpdated/OregonVariantDashboard. Accessed: 5/12/23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1794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https://gis.cdc.gov/grasp/COVIDNet/COVID19_3.html. Accessed: 5/12/23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26119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https://public.tableau.com/app/profile/oregon.public.health.division.acute.and.communicable.disease.pre/viz/OregonsRespiratoryVirusData/Deaths. Accessed: 5/12/23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2433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28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Relationship Id="rId4" Type="http://schemas.openxmlformats.org/officeDocument/2006/relationships/image" Target="../media/image11.emf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OHAmasterpage_nobackfinal_shared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0" y="0"/>
            <a:ext cx="9138621" cy="6858000"/>
          </a:xfrm>
          <a:prstGeom prst="rect">
            <a:avLst/>
          </a:prstGeom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7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153" name="Rectangle 9"/>
          <p:cNvSpPr>
            <a:spLocks noChangeArrowheads="1"/>
          </p:cNvSpPr>
          <p:nvPr/>
        </p:nvSpPr>
        <p:spPr bwMode="auto">
          <a:xfrm>
            <a:off x="3124200" y="632460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hangingPunct="1"/>
            <a:endParaRPr lang="en-US" sz="1200">
              <a:solidFill>
                <a:srgbClr val="005595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2179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4D164C-97E3-4077-A336-8B3BA028DF3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5088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814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2AD93DC3-2293-4198-BDF7-2D48B7093C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1E6C1E5-9555-4A94-B314-99DBC1858D4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775475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5ED33DD-3FCF-4976-813D-ABC54E13BF2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AA4372C9-8483-434E-AC48-263A4D750F1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5CBDC7-F241-4663-B339-A050E5256A1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2543E170-E7C9-4F31-9A28-324D500EBAEF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925484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A6D72DE-E249-4D72-B5AB-B4DE976F4E3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652AE602-E129-45B9-8BA7-F47AD2E92B38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9355AE-1B8F-4991-8469-B7EBBD3E2AF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32A9B6B8-99CD-4113-B414-F990B2C4E70A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8705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65D96E4-8D10-4A60-8D21-4B435B88851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4636631A-995E-47B1-9A0C-88913C8685AB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D832B7-E7BE-4097-B6EE-769D0DDF834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0ECF2167-4DBE-45C2-970A-393127E96A3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6894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C75F29C0-985E-4CCA-95EC-029C882F3F7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8679012F-6909-48BE-BDF7-23462E3015A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06CFD-2ED6-4816-841A-F22FABC148C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77A312C2-F640-4BBF-B37F-C3B133D41E27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719408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A11231C1-0494-4C19-BFA2-B1E72CC3770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66752C9-22EA-4C02-A131-BC53C846D4A0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219AB-CE53-438A-B076-7D9F082B6BB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37DEF537-1D67-4276-8861-BC1E02148BE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518771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C8B892D5-5920-4CCB-9D63-93C20FEF8C9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CA01CA9C-7271-4B4E-B907-DB6986E5EBAD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9ADFC4-1475-460B-B9E2-9CFB41DFF5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A23F01F4-7BC7-4179-BAE1-42C9E3ACB824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83976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EE9923-CAAB-4993-B135-EAA5DBF6018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538171EC-CCDF-4FF1-A563-08B3EB325213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34263A-7368-4C04-B6B0-C78B36E7AD9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4E9409B9-8EF3-4BCE-8A7A-B49B14783067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07002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35B1C7C-2FE3-440E-960B-DC336E9D4E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8480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F10333-060A-4A82-BE0B-AB3A689D40F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BC2ECCA8-D871-411C-9BE3-03F2D3BF6617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255780-059F-483B-B198-F770037BF79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D8FAFED9-8C58-4667-952B-797A5C6327A6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69720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5335757-1CB8-47E6-A612-351791F6368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C1631848-1CBB-4AF2-A9E4-1CF4389A1142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89FECD-D080-419C-8C0B-C62E4384D14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287720C5-19FF-48CE-AFA7-291D02864EAB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863733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2397E72D-22F8-433E-9489-2E11EA7E8E0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52B20A34-8642-4576-AA2F-C52CD1E899A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7B927-9F32-489B-85D0-F5901BBA961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4D26DC1B-CAB5-4066-B552-64AA7DD4EE23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565357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21"/>
          </p:nvPr>
        </p:nvSpPr>
        <p:spPr>
          <a:xfrm>
            <a:off x="4114800" y="-101600"/>
            <a:ext cx="4554314" cy="70675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 dirty="0"/>
          </a:p>
        </p:txBody>
      </p:sp>
      <p:sp>
        <p:nvSpPr>
          <p:cNvPr id="33" name="Slide Title"/>
          <p:cNvSpPr txBox="1">
            <a:spLocks noGrp="1"/>
          </p:cNvSpPr>
          <p:nvPr>
            <p:ph type="title"/>
          </p:nvPr>
        </p:nvSpPr>
        <p:spPr>
          <a:xfrm>
            <a:off x="452438" y="635000"/>
            <a:ext cx="3667125" cy="2941137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2438" y="3530288"/>
            <a:ext cx="3667125" cy="2692712"/>
          </a:xfrm>
          <a:prstGeom prst="rect">
            <a:avLst/>
          </a:prstGeom>
        </p:spPr>
        <p:txBody>
          <a:bodyPr/>
          <a:lstStyle>
            <a:lvl1pPr marL="0" indent="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1pPr>
            <a:lvl2pPr marL="0" indent="17145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2pPr>
            <a:lvl3pPr marL="0" indent="34290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3pPr>
            <a:lvl4pPr marL="0" indent="51435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4pPr>
            <a:lvl5pPr marL="0" indent="68580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0090B28C-07C1-4951-A5D2-A32E3207747C}"/>
              </a:ext>
            </a:extLst>
          </p:cNvPr>
          <p:cNvSpPr txBox="1">
            <a:spLocks noGrp="1"/>
          </p:cNvSpPr>
          <p:nvPr>
            <p:ph type="sldNum" sz="quarter" idx="22"/>
          </p:nvPr>
        </p:nvSpPr>
        <p:spPr>
          <a:xfrm>
            <a:off x="4500563" y="6542088"/>
            <a:ext cx="138112" cy="187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1EAC5C-7F39-4945-88CA-26DB39FBB9D8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87268479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1F8D761A-EA0D-4F4F-81E8-CC5966C16A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7F8660C-F8A4-4069-B80B-A491A2179DA9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482802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8248DB4-B92C-43FC-AFA4-B4B0CA88ACC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AE7AA7B4-11E7-4F6F-BE5D-BF783E5164E5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9639A3-1858-4587-B42B-EABC4364E7D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46CB1811-F701-4981-898C-8D2916153BC6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4086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CD72E73-A092-41F3-9BEB-AB9D57999E3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012439A7-46BC-4211-80AC-F0A3053FC066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7C7F8A-88A1-4869-9C88-369DE3E1BBC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A0036DD7-8E53-4BDE-8334-B5B34D251E3A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756489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431863F-C668-4871-A7FC-B56BB1C424A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21CF9734-3C81-4D4A-93A4-6A98E742500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2DC2FF-3839-4380-96A3-EE35C2AD826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EF89C515-D779-424E-B548-0386E838685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931297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60C89B86-C5D7-4179-82D6-4EE5130CEE5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C2438882-AD47-48A3-ABA7-14D73D09D23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08FCF6-B49D-4090-9258-FA1F113A70D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0F54B154-DE2B-4042-B82B-ADDE4F539CC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46156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D8AA22A5-4F69-4FFB-8730-68A95F7746E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30ADA827-81A6-425B-AAAF-ECDF27FE25E7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CC18E4-41D5-4DA9-9D6E-64089BB6674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9160DC70-C4C5-4EAC-858A-1EAEB9C6D1CF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799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93C284-B4DC-451D-807D-F60D65E3CB4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1202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395FA008-4223-4264-8507-0757836347A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C81DFF44-47F3-4743-8952-11D78576F9B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98126-13BB-4931-B525-53201A17FF7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5B7B1408-5ECA-43F5-A52D-586949158B9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600527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8DB76A-2094-43F1-A9BA-4B5782B3414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5C158CAA-CD71-431A-A1A6-C1090DDB9EEF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299102-8E99-45AC-89FD-BED1C6693B5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D0C8CF63-4C11-4890-81D4-DC04756FE7F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973337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362EE0-6C5E-479D-BA35-536604C96F1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3C64675B-3A38-4C34-A1DB-6B4634FEB64B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2DBC7-47C5-4305-B97F-6B614D5AFA2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815BB31B-E169-44D0-BD37-EF963CE7FE4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326116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3F59B9F-0FE7-4DAD-BF06-74BA79CB85F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8F8BBE27-2D99-4AE7-A8C5-F37B996E6DA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7B09E7-CC01-44CF-9D97-D1BCE13B25C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73E561B1-DC7C-4A95-ABFF-633CE3281EB5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40364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3AC3F95-2E21-43BA-9893-1758B37FF24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1C3086F4-E28E-4BDC-A179-95499B9DF51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196FE0-B4D3-423E-AF42-99DCA266DB8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695636AC-AEF0-4640-93F0-23D609EC30E9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689558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A616602A-0233-46CC-955D-FE42D6F635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6FA98EE-B76F-4615-B756-142AC1B808E8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3276600" cy="476250"/>
          </a:xfrm>
        </p:spPr>
        <p:txBody>
          <a:bodyPr/>
          <a:lstStyle>
            <a:lvl1pPr algn="ctr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/>
              <a:t>OREGON PUBLIC HEALTH DIVISION</a:t>
            </a:r>
            <a:br>
              <a:rPr lang="en-US" altLang="en-US"/>
            </a:br>
            <a:r>
              <a:rPr lang="en-US" altLang="en-US"/>
              <a:t>Acute &amp; Communicable Disease Prevention</a:t>
            </a:r>
          </a:p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743467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37214D-0E20-4E23-8C8C-47C657D26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AA9AED-9686-4AC4-8B36-D38D34C8E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CD71E-01A7-4E45-8BC3-62FEB67993C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02CE2E-AE1B-4FD1-A52C-CB87416CFF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021945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D3D9B-8A71-44D3-8C89-3262B4C9D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21770B-08A3-4642-947F-1D801C03E8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A4ED18-181B-4DD8-994D-FD6D7D97717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F82C00-376F-4418-9982-F33D072445F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366272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E0C827-64F6-4144-9F2B-C0AC5D92F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D9E3A8-1223-41BA-A67D-2F0BF17CCF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32C2CF-F847-43E8-A6A3-C7061343CE0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34763F4-7068-44F4-A76E-9B8F34C7BF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010934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20A39B-2203-4824-B3E3-1A33EB595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8842C87-1219-4CC3-9830-9DCAD43DCA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AC217-D171-4CB0-A5DC-2B15BA961CF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D2CE8E-A09E-4B48-B607-3384B491BFD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9311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962D4F-5079-4222-824C-2D2332E0DD5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403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A259EF-741B-4861-8ABC-6EBC58977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6664E7-2C05-41C7-AF90-EDE300DFDC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0A876-57CD-4F5C-9C45-8A0C5F3EED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1FF5D2-A2F4-4834-BA07-919420D3A2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907373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018121-20F4-425A-9660-AD8FB7F266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5F9940-DA34-4F32-BAC4-13404475C2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EE575E-357C-4FB3-B9AE-43D8A6BE329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0B78F6-29FA-4179-A3A1-4878CE6F835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112913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E7A485-010A-4A4F-9447-12D768DE3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FED0A-AEFB-4281-9E71-608ABEEE06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F459CE-820A-46B5-9B5C-341150AFEC9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9BDA011-E06A-4BCB-A7CE-364BADDD00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963545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AD7C86-EED5-42E4-B453-25147FCCAF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22DF94-9A86-47D6-B4F7-C5629FE1EA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D2830C-2FF6-4833-B1BB-CD0BCE96FF1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7092CD1-FA86-4A69-BF8F-E270295ABD5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70209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EA68F-1497-4364-9ABF-055B70FD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A2537E-F024-4EEF-8034-5A4A95DD8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424C3-C66B-4B84-9628-090B56B58AB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B2F0DF-C826-49EC-AF27-D93F57F0CB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024419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A7D7EE-1BDA-44A2-9EC5-A4ACF383A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575EC8-51F1-49FB-AD3E-31FE8C4CBF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755FBB-28E1-42BF-9BBB-05DFF6BC1EF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3AEE98-BE83-4158-AC0B-26E0BDE536C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634859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1" name="Picture 7">
            <a:extLst>
              <a:ext uri="{FF2B5EF4-FFF2-40B4-BE49-F238E27FC236}">
                <a16:creationId xmlns:a16="http://schemas.microsoft.com/office/drawing/2014/main" id="{C061AB41-B8E5-4DF3-A971-84D53E5AAC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>
            <a:extLst>
              <a:ext uri="{FF2B5EF4-FFF2-40B4-BE49-F238E27FC236}">
                <a16:creationId xmlns:a16="http://schemas.microsoft.com/office/drawing/2014/main" id="{65F52A8B-4B28-459C-B0FA-97EC6046C22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55B89B5C-C7B7-4E97-B820-767597950C4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91B404A0-B154-4B51-BDB4-8C8C244EF3A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708618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53C86-9996-4BB4-980B-7D8A638BD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28394-2F5C-45A3-8A44-025757D438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94E22-D432-4A43-ACD1-7E985697B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57C58B-54E1-4ACA-895D-C845CB3B8A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D26A203-415D-4398-8C79-721B06B11C4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7B573E-4F55-473A-91D4-03A1E23FAC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32903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E8CB8-4430-4404-B0C9-EA603E5CF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3188CD-29FC-4BB0-A870-93508F388E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28D91-6907-474A-93FC-283CC86B8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C4F52F-8792-434D-8F0C-5DD3548BB8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73CF502-A19F-4F9E-B9AF-4CF6F5F719D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742B5F-FAA6-4C0B-B513-3D341CE66B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76984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31687-0B0F-4A37-B99A-1E3A83524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6CD9B6-F70F-49EE-AFC4-020F1F0797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730E46-4E50-46C0-8B6C-815EFA53C0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005C85-040B-4485-8B8D-93D912E72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E0537-CA43-46A4-9C79-014C8DBB8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6FE4703-2EA3-4979-BA5B-CD843B5540A8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5AAC1E0-F77D-42FA-BB58-921DCD0D25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27473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73C464-62F4-41AC-86F0-6F0305D6E9D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0867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D4DD2-DF26-4D39-A301-4B5B53E53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1AEC85-2BD6-41C8-BA6A-47CFA6AA18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73AD5C-64EB-40D9-8E58-05ED1CEC97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496488-7552-4319-AFD7-B4D3D92DB7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233F98-2341-44F1-8EAD-E78AC34DB7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60AD0-45FD-4B56-84CA-E9158C63A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18466AF-E417-4D47-8D19-D20AA23C3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6543770-14CB-457F-A33E-1A213EF32B8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0049BD-F57C-48B5-9C6F-8E5E88AC5D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220476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A4B58-3045-4A1B-A76B-7DE2C3978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87994F-B0A8-45F2-AA7C-74F963244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F896FA-B925-438C-8A95-B328CEF84A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1B15ACB-7A7D-4BE9-9D7E-A065C88996F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7D231-9BF6-4AFA-9650-8A7F526D9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148389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BE8EC2-C258-4209-9DCB-F233816F6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73018F-B74B-4861-83F4-AD5D13DAA4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83F123-0FA1-4F4D-84E6-64A1235F38AF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70BCAC-982A-4E71-81D2-DF0CDC10F2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519432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F8592-031D-4395-9E83-1873F148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3BF73E-BE26-4E72-BB6E-DB3CA168C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9AB853-6DEA-4F13-8E6E-E85CFB65A7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E8019D-98D5-492F-B59E-BDCD02741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095905-AF18-4783-B3BA-61656145EB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BA63A59-C370-4678-A474-58B095D7700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68C659-87FF-4BEE-9551-88487A15F1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814686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98E96-BE71-447D-BCA9-23EC9DF4E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13B746-9E10-4D8B-B1D3-CFB2AFFD06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27E88-87ED-415F-986A-ED61EC1DF3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3E0EDE-991F-4FDC-A0E0-D4D03370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1E9A4D-219A-47A6-86EA-5DC4E1F20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78924A8-427D-4656-8797-27427C18EEF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CCBF7F-506C-48D5-AA09-BC78BCA0601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475833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03BF8-3E79-4F67-9426-1C101F6AA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9C8BDB-773E-4F10-BE9C-8C3E9F2BA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93CA58-35A3-4684-AD90-B7B020878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C3831F-4999-4E93-87A8-35C035E8F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1FAA71-1056-475E-B27B-3B2C5050B23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8FAF9F-013E-44B0-8C7E-455EF2E2E4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8896695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44E308-05AD-43BB-A792-4C725ECAAB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309D42-C672-4BFE-B4A5-4496B068B8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8E7230-7B99-4CE2-82AD-9223BC116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53931-ADF6-4E0D-B830-C8DEF5651C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F84CF2B-39AD-4036-858D-34A781F06D7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D1D70A-6823-401F-889A-DBFEC7E668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530644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FE50E251-4B74-4222-849F-3B8F335C30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204"/>
            <a:ext cx="9145588" cy="6859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33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05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FEAE2EB5-C95C-41EE-A837-79B28D38CA25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645497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780648EC-8D52-4F8C-B21B-D5816BCEB3F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5CC19D-8B0B-46F9-A12C-19C1C443E8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2047F63A-B30F-4A2B-A246-1C463B4C58C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730774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780648EC-8D52-4F8C-B21B-D5816BCEB3F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5CC19D-8B0B-46F9-A12C-19C1C443E8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2047F63A-B30F-4A2B-A246-1C463B4C58C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672892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1E5BF8-2D8D-486B-87C7-C2DCA0D6184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9781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933D54F0-357B-450E-B0C7-0FB6B8D921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3765F3-E9AA-4E9B-B262-B819B5219BF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12D0AE9B-B9C3-4243-AFA6-E7AADBBBF96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934994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OHAmasterpage_nobackfinal_shared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689" y="0"/>
            <a:ext cx="9138621" cy="6858000"/>
          </a:xfrm>
          <a:prstGeom prst="rect">
            <a:avLst/>
          </a:prstGeom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153" name="Rectangle 9"/>
          <p:cNvSpPr>
            <a:spLocks noChangeArrowheads="1"/>
          </p:cNvSpPr>
          <p:nvPr/>
        </p:nvSpPr>
        <p:spPr bwMode="auto">
          <a:xfrm>
            <a:off x="3124200" y="632460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hangingPunct="1"/>
            <a:endParaRPr lang="en-US" sz="1200">
              <a:solidFill>
                <a:srgbClr val="005595"/>
              </a:solidFill>
              <a:latin typeface="Arial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2E1FEAB-F8A3-4846-AA00-7FBA71BE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34639" y="6534150"/>
            <a:ext cx="3532909" cy="3238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D744E5-3786-4652-8DE9-FF690F122B99}"/>
              </a:ext>
            </a:extLst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5702530"/>
            <a:ext cx="2181182" cy="412519"/>
          </a:xfrm>
          <a:prstGeom prst="rect">
            <a:avLst/>
          </a:prstGeom>
        </p:spPr>
      </p:pic>
      <p:sp>
        <p:nvSpPr>
          <p:cNvPr id="11" name="Rectangle 8">
            <a:extLst>
              <a:ext uri="{FF2B5EF4-FFF2-40B4-BE49-F238E27FC236}">
                <a16:creationId xmlns:a16="http://schemas.microsoft.com/office/drawing/2014/main" id="{AEB213A1-D940-477E-862A-4F3F9BD4337D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7202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35B1C7C-2FE3-440E-960B-DC336E9D4E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4861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93C284-B4DC-451D-807D-F60D65E3CB4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0047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962D4F-5079-4222-824C-2D2332E0DD5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7365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73C464-62F4-41AC-86F0-6F0305D6E9D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0932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1E5BF8-2D8D-486B-87C7-C2DCA0D6184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4479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0F3097-2133-4D9E-BC2B-43985C5D995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08D957-E888-4686-B7D9-4EAE6F568C64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" y="6068291"/>
            <a:ext cx="1600200" cy="30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6253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29712D-99B4-4A1B-A104-7124243888D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6039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20B12F-3AA2-41D6-BCED-9B854066AE1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248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0F3097-2133-4D9E-BC2B-43985C5D995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450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4D164C-97E3-4077-A336-8B3BA028DF3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1070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8180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94944"/>
            <a:ext cx="77724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2700" b="0" spc="-56" dirty="0">
                <a:latin typeface="+mj-lt"/>
              </a:defRPr>
            </a:lvl1pPr>
          </a:lstStyle>
          <a:p>
            <a:pPr lvl="0" defTabSz="51435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C811CD71-04DB-4D73-B8B2-6FB76AB473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04800" y="6534150"/>
            <a:ext cx="2133600" cy="247650"/>
          </a:xfrm>
        </p:spPr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72195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174618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25" y="669544"/>
            <a:ext cx="4603134" cy="381392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3605213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25" y="1050936"/>
            <a:ext cx="4603134" cy="381392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US" sz="105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8125" y="466344"/>
            <a:ext cx="2516886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b="1" kern="0" cap="all" spc="188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171450" lvl="0" indent="-171450"/>
            <a:r>
              <a:rPr lang="en-US"/>
              <a:t>BREADCRUMB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8DDD86A-F6F6-46D4-9095-97B5C3E036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04800" y="6534150"/>
            <a:ext cx="2133600" cy="247650"/>
          </a:xfrm>
        </p:spPr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5258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185643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4943284" y="2239972"/>
            <a:ext cx="1839554" cy="2728580"/>
            <a:chOff x="6953285" y="3278976"/>
            <a:chExt cx="1506831" cy="168246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2651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6691605" y="4968552"/>
            <a:ext cx="245239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628982"/>
            <a:ext cx="5920662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4376" y="1206501"/>
            <a:ext cx="4002881" cy="2257425"/>
          </a:xfrm>
        </p:spPr>
        <p:txBody>
          <a:bodyPr/>
          <a:lstStyle>
            <a:lvl1pPr marL="0" indent="0">
              <a:buNone/>
              <a:defRPr sz="4950">
                <a:latin typeface="+mj-lt"/>
              </a:defRPr>
            </a:lvl1pPr>
          </a:lstStyle>
          <a:p>
            <a:pPr lvl="0"/>
            <a:r>
              <a:rPr lang="en-US" sz="4950">
                <a:latin typeface="+mj-lt"/>
              </a:rPr>
              <a:t>Section Hea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0266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54556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>
            <a:extLst>
              <a:ext uri="{FF2B5EF4-FFF2-40B4-BE49-F238E27FC236}">
                <a16:creationId xmlns:a16="http://schemas.microsoft.com/office/drawing/2014/main" id="{F111BD23-73BE-4E85-BB2D-3108FA8C393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1166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E0A85609-BAE6-4982-B1B6-8A03C3B445C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78483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D040BAC7-9E8D-4386-90FE-A40226B1BA0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6302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1" name="Picture 7">
            <a:extLst>
              <a:ext uri="{FF2B5EF4-FFF2-40B4-BE49-F238E27FC236}">
                <a16:creationId xmlns:a16="http://schemas.microsoft.com/office/drawing/2014/main" id="{C061AB41-B8E5-4DF3-A971-84D53E5AAC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>
            <a:extLst>
              <a:ext uri="{FF2B5EF4-FFF2-40B4-BE49-F238E27FC236}">
                <a16:creationId xmlns:a16="http://schemas.microsoft.com/office/drawing/2014/main" id="{65F52A8B-4B28-459C-B0FA-97EC6046C22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685800" y="682627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55B89B5C-C7B7-4E97-B820-767597950C4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05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91B404A0-B154-4B51-BDB4-8C8C244EF3A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0057959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53C86-9996-4BB4-980B-7D8A638BD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28394-2F5C-45A3-8A44-025757D438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94E22-D432-4A43-ACD1-7E985697B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57C58B-54E1-4ACA-895D-C845CB3B8A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D26A203-415D-4398-8C79-721B06B11C4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7B573E-4F55-473A-91D4-03A1E23FAC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87736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29712D-99B4-4A1B-A104-7124243888D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2740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E8CB8-4430-4404-B0C9-EA603E5CF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3188CD-29FC-4BB0-A870-93508F388E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3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28D91-6907-474A-93FC-283CC86B8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C4F52F-8792-434D-8F0C-5DD3548BB8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73CF502-A19F-4F9E-B9AF-4CF6F5F719D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742B5F-FAA6-4C0B-B513-3D341CE66B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7318414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31687-0B0F-4A37-B99A-1E3A83524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6CD9B6-F70F-49EE-AFC4-020F1F0797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730E46-4E50-46C0-8B6C-815EFA53C0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005C85-040B-4485-8B8D-93D912E72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E0537-CA43-46A4-9C79-014C8DBB8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6FE4703-2EA3-4979-BA5B-CD843B5540A8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5AAC1E0-F77D-42FA-BB58-921DCD0D25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1429717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D4DD2-DF26-4D39-A301-4B5B53E53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7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1AEC85-2BD6-41C8-BA6A-47CFA6AA18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9" y="1681163"/>
            <a:ext cx="386873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73AD5C-64EB-40D9-8E58-05ED1CEC97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9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496488-7552-4319-AFD7-B4D3D92DB7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233F98-2341-44F1-8EAD-E78AC34DB7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60AD0-45FD-4B56-84CA-E9158C63A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18466AF-E417-4D47-8D19-D20AA23C3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6543770-14CB-457F-A33E-1A213EF32B8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0049BD-F57C-48B5-9C6F-8E5E88AC5D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91865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A4B58-3045-4A1B-A76B-7DE2C3978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87994F-B0A8-45F2-AA7C-74F963244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F896FA-B925-438C-8A95-B328CEF84A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1B15ACB-7A7D-4BE9-9D7E-A065C88996F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7D231-9BF6-4AFA-9650-8A7F526D9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483564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BE8EC2-C258-4209-9DCB-F233816F6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73018F-B74B-4861-83F4-AD5D13DAA4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83F123-0FA1-4F4D-84E6-64A1235F38AF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70BCAC-982A-4E71-81D2-DF0CDC10F2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197708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F8592-031D-4395-9E83-1873F148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3BF73E-BE26-4E72-BB6E-DB3CA168C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9AB853-6DEA-4F13-8E6E-E85CFB65A7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E8019D-98D5-492F-B59E-BDCD02741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095905-AF18-4783-B3BA-61656145EB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BA63A59-C370-4678-A474-58B095D7700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68C659-87FF-4BEE-9551-88487A15F1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840392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98E96-BE71-447D-BCA9-23EC9DF4E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13B746-9E10-4D8B-B1D3-CFB2AFFD06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27E88-87ED-415F-986A-ED61EC1DF3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3E0EDE-991F-4FDC-A0E0-D4D03370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1E9A4D-219A-47A6-86EA-5DC4E1F20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78924A8-427D-4656-8797-27427C18EEF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CCBF7F-506C-48D5-AA09-BC78BCA0601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502291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03BF8-3E79-4F67-9426-1C101F6AA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9C8BDB-773E-4F10-BE9C-8C3E9F2BA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93CA58-35A3-4684-AD90-B7B020878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C3831F-4999-4E93-87A8-35C035E8F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1FAA71-1056-475E-B27B-3B2C5050B23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8FAF9F-013E-44B0-8C7E-455EF2E2E4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721803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44E308-05AD-43BB-A792-4C725ECAAB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309D42-C672-4BFE-B4A5-4496B068B8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8E7230-7B99-4CE2-82AD-9223BC116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53931-ADF6-4E0D-B830-C8DEF5651C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F84CF2B-39AD-4036-858D-34A781F06D7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D1D70A-6823-401F-889A-DBFEC7E668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147801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20B12F-3AA2-41D6-BCED-9B854066AE1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641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5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1" name="Picture 11" descr="Power Point Template PG 2 new sm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2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1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3415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20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>
          <a:solidFill>
            <a:srgbClr val="005595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005595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rgbClr val="005595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>
            <a:extLst>
              <a:ext uri="{FF2B5EF4-FFF2-40B4-BE49-F238E27FC236}">
                <a16:creationId xmlns:a16="http://schemas.microsoft.com/office/drawing/2014/main" id="{A37CFEF0-2F43-4B35-AF0C-91C90A5FFE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204C6B2E-D693-4916-A7DC-DD1A126E39F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7A0CCD04-C0C8-49B3-B21B-7562F10B9E5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2B455721-776D-429C-81CA-F356B14D09A9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D64386F7-FDB8-4DA6-B596-8D2ED63F1E6A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13CCF6B3-45E4-4B48-9002-24D077BBF8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9E25C36A-23DB-4267-BFFB-46C36741D68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8772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>
            <a:extLst>
              <a:ext uri="{FF2B5EF4-FFF2-40B4-BE49-F238E27FC236}">
                <a16:creationId xmlns:a16="http://schemas.microsoft.com/office/drawing/2014/main" id="{5BC2EEB6-7A6F-4BDF-9397-092D92B213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41396B50-AE96-46D2-84E9-B3525B5D250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BEB759DC-4365-483D-8262-28157CA0890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6942FB78-7D8D-49B6-8295-E392C5D8F00B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D69860AE-CF5B-40FE-BEFE-31E7264AAA5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1FC37301-0348-4DF8-9D95-2B92D39809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8C750E91-A370-45BA-9F22-2CFD0721EF4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2149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 descr="Power Point Template PG 2 new sm">
            <a:extLst>
              <a:ext uri="{FF2B5EF4-FFF2-40B4-BE49-F238E27FC236}">
                <a16:creationId xmlns:a16="http://schemas.microsoft.com/office/drawing/2014/main" id="{D969D71B-E2C3-4AA0-ACEA-5BDF9BC534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D8A54889-D698-4FE4-8EA8-D4EEB9B4C15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9F115CCC-45DB-4DE6-BEA5-CF2BB4B790F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981F9947-6853-4972-B666-1D07EBFB7FBF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/>
              <a:t>OREGON PUBLIC HEALTH DIVISION</a:t>
            </a:r>
            <a:br>
              <a:rPr lang="en-US" altLang="en-US"/>
            </a:br>
            <a:r>
              <a:rPr lang="en-US" altLang="en-US"/>
              <a:t>Acute &amp; Communicable Disease Prevention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20AFEF3B-9333-47CE-91AB-FF43A51DC1C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BFB52D5-423E-42BE-9D47-90A6A3D865C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44E7AEF4-6FAF-4DC8-8E9C-C775B46EB448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95897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BDED0561-5116-4D9F-A087-0D0FA03276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>
            <a:extLst>
              <a:ext uri="{FF2B5EF4-FFF2-40B4-BE49-F238E27FC236}">
                <a16:creationId xmlns:a16="http://schemas.microsoft.com/office/drawing/2014/main" id="{C575047B-21F3-488B-972E-938C41B3EB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7B2EC82F-BF79-4F48-8C2E-72AC023966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4D510517-5284-4C27-8C12-4F5C8D41068C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78663B06-A4BD-467B-ABFA-049E28ACDF0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F3C43FFC-BB3A-4093-9F91-A4662F962CB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6078EAE8-E2FA-45DC-8E58-D3DD93C4B48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8709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>
            <a:extLst>
              <a:ext uri="{FF2B5EF4-FFF2-40B4-BE49-F238E27FC236}">
                <a16:creationId xmlns:a16="http://schemas.microsoft.com/office/drawing/2014/main" id="{EAC85F64-D96A-4087-955D-83D16D997ED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283C427C-F9A5-402A-8382-CD5E89A2E60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10504E18-2D76-452B-AFCE-D07DB7FBA3EC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5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BE6F458A-22AC-4D0F-B8B2-7FBC76C47D2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B0E6FB78-CF8A-494A-9626-5B3B6B07234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3415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9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pic>
        <p:nvPicPr>
          <p:cNvPr id="7" name="Picture 8" descr="Logo&#10;&#10;Description automatically generated">
            <a:extLst>
              <a:ext uri="{FF2B5EF4-FFF2-40B4-BE49-F238E27FC236}">
                <a16:creationId xmlns:a16="http://schemas.microsoft.com/office/drawing/2014/main" id="{9B7D4EF9-3005-4B81-9867-F05543CDB9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700" y="6165452"/>
            <a:ext cx="1019175" cy="50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0EA2C4-D7A6-4409-B8FB-AED98C403F45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75138" y="6553200"/>
            <a:ext cx="7454413" cy="0"/>
          </a:xfrm>
          <a:prstGeom prst="line">
            <a:avLst/>
          </a:prstGeom>
          <a:noFill/>
          <a:ln w="12700" algn="ctr">
            <a:solidFill>
              <a:srgbClr val="EC890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25277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500" kern="1200">
          <a:solidFill>
            <a:srgbClr val="005595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200" kern="1200">
          <a:solidFill>
            <a:srgbClr val="005595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050" kern="1200">
          <a:solidFill>
            <a:srgbClr val="005595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050" kern="1200">
          <a:solidFill>
            <a:srgbClr val="00559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1" name="Picture 11" descr="Power Point Template PG 2 new sm"/>
          <p:cNvPicPr>
            <a:picLocks noChangeAspect="1" noChangeArrowheads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2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1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34639" y="6534150"/>
            <a:ext cx="3532909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0" i="1">
                <a:solidFill>
                  <a:srgbClr val="005595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</a:p>
        </p:txBody>
      </p:sp>
      <p:graphicFrame>
        <p:nvGraphicFramePr>
          <p:cNvPr id="2" name="Draft Stamp">
            <a:extLst>
              <a:ext uri="{FF2B5EF4-FFF2-40B4-BE49-F238E27FC236}">
                <a16:creationId xmlns:a16="http://schemas.microsoft.com/office/drawing/2014/main" id="{F1870D03-DACA-40BE-8EEE-A014FC0D86E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68027472"/>
              </p:ext>
            </p:extLst>
          </p:nvPr>
        </p:nvGraphicFramePr>
        <p:xfrm>
          <a:off x="7874000" y="0"/>
          <a:ext cx="1270000" cy="38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1882422824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C3300"/>
                          </a:solidFill>
                          <a:latin typeface="Calibri" panose="020F0502020204030204" pitchFamily="34" charset="0"/>
                        </a:rPr>
                        <a:t>DRAFT</a:t>
                      </a:r>
                    </a:p>
                  </a:txBody>
                  <a:tcPr marT="0" marB="0" anchorCtr="1">
                    <a:lnT w="12700" cmpd="sng">
                      <a:solidFill>
                        <a:srgbClr val="CC3300"/>
                      </a:solidFill>
                    </a:lnT>
                    <a:lnB w="38100" cmpd="sng">
                      <a:solidFill>
                        <a:srgbClr val="CC33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30698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BA950E3-867C-455B-8AB8-8459A90C77E3}"/>
              </a:ext>
            </a:extLst>
          </p:cNvPr>
          <p:cNvPicPr/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96" y="6135180"/>
            <a:ext cx="1600200" cy="30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21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>
          <a:solidFill>
            <a:srgbClr val="005595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005595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rgbClr val="005595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BDED0561-5116-4D9F-A087-0D0FA03276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>
            <a:extLst>
              <a:ext uri="{FF2B5EF4-FFF2-40B4-BE49-F238E27FC236}">
                <a16:creationId xmlns:a16="http://schemas.microsoft.com/office/drawing/2014/main" id="{C575047B-21F3-488B-972E-938C41B3EB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7B2EC82F-BF79-4F48-8C2E-72AC023966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4D510517-5284-4C27-8C12-4F5C8D41068C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900">
                <a:solidFill>
                  <a:srgbClr val="005595"/>
                </a:solidFill>
                <a:latin typeface="+mn-lt"/>
              </a:defRPr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78663B06-A4BD-467B-ABFA-049E28ACDF0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50">
                <a:solidFill>
                  <a:srgbClr val="005595"/>
                </a:solidFill>
                <a:latin typeface="+mn-lt"/>
              </a:defRPr>
            </a:lvl1pPr>
          </a:lstStyle>
          <a:p>
            <a:fld id="{F3C43FFC-BB3A-4093-9F91-A4662F962CB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6078EAE8-E2FA-45DC-8E58-D3DD93C4B48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900">
                <a:solidFill>
                  <a:srgbClr val="005595"/>
                </a:solidFill>
                <a:latin typeface="+mn-lt"/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67567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257175" indent="-257175" algn="l" rtl="0" fontAlgn="base">
        <a:spcBef>
          <a:spcPct val="20000"/>
        </a:spcBef>
        <a:spcAft>
          <a:spcPct val="0"/>
        </a:spcAft>
        <a:buChar char="•"/>
        <a:defRPr sz="1500" kern="1200">
          <a:solidFill>
            <a:srgbClr val="005595"/>
          </a:solidFill>
          <a:latin typeface="+mn-lt"/>
          <a:ea typeface="+mn-ea"/>
          <a:cs typeface="+mn-cs"/>
        </a:defRPr>
      </a:lvl1pPr>
      <a:lvl2pPr marL="557213" indent="-214313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857250" indent="-171450" algn="l" rtl="0" fontAlgn="base">
        <a:spcBef>
          <a:spcPct val="20000"/>
        </a:spcBef>
        <a:spcAft>
          <a:spcPct val="0"/>
        </a:spcAft>
        <a:buChar char="•"/>
        <a:defRPr sz="1200" kern="1200">
          <a:solidFill>
            <a:srgbClr val="005595"/>
          </a:solidFill>
          <a:latin typeface="+mn-lt"/>
          <a:ea typeface="+mn-ea"/>
          <a:cs typeface="+mn-cs"/>
        </a:defRPr>
      </a:lvl3pPr>
      <a:lvl4pPr marL="1200150" indent="-171450" algn="l" rtl="0" fontAlgn="base">
        <a:spcBef>
          <a:spcPct val="20000"/>
        </a:spcBef>
        <a:spcAft>
          <a:spcPct val="0"/>
        </a:spcAft>
        <a:buChar char="–"/>
        <a:defRPr sz="1050" kern="1200">
          <a:solidFill>
            <a:srgbClr val="005595"/>
          </a:solidFill>
          <a:latin typeface="+mn-lt"/>
          <a:ea typeface="+mn-ea"/>
          <a:cs typeface="+mn-cs"/>
        </a:defRPr>
      </a:lvl4pPr>
      <a:lvl5pPr marL="1543050" indent="-171450" algn="l" rtl="0" fontAlgn="base">
        <a:spcBef>
          <a:spcPct val="20000"/>
        </a:spcBef>
        <a:spcAft>
          <a:spcPct val="0"/>
        </a:spcAft>
        <a:buChar char="»"/>
        <a:defRPr sz="1050" kern="1200">
          <a:solidFill>
            <a:srgbClr val="00559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7.xml"/></Relationships>
</file>

<file path=ppt/slides/_rels/slide14.xml.rels><?xml version="1.0" encoding="UTF-8" standalone="yes"?>
<Relationships xmlns="http://schemas.openxmlformats.org/package/2006/relationships">
	<Relationship Id="rId3" Type="http://schemas.openxmlformats.org/officeDocument/2006/relationships/hyperlink" Target="http://?" TargetMode="External"/>
	<Relationship Id="rId2" Type="http://schemas.openxmlformats.org/officeDocument/2006/relationships/notesSlide" Target="../notesSlides/notesSlide14.xml"/>
	<Relationship Id="rId1" Type="http://schemas.openxmlformats.org/officeDocument/2006/relationships/slideLayout" Target="../slideLayouts/slideLayout47.xml"/>
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17704-AB0F-4AA1-825D-6070B9205E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dirty="0"/>
              <a:t> Updates related to the PHE End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E145F9-826D-474E-9C41-28D251D7F3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sz="2000" kern="0" dirty="0">
                <a:solidFill>
                  <a:srgbClr val="E87211"/>
                </a:solidFill>
                <a:latin typeface="Franklin Gothic Medium" panose="020B0603020102020204" pitchFamily="34" charset="0"/>
              </a:rPr>
              <a:t>May 8, 2023</a:t>
            </a:r>
          </a:p>
        </p:txBody>
      </p:sp>
      <p:sp>
        <p:nvSpPr>
          <p:cNvPr id="4" name="slide1">
            <a:extLst>
              <a:ext uri="{FF2B5EF4-FFF2-40B4-BE49-F238E27FC236}">
                <a16:creationId xmlns:a16="http://schemas.microsoft.com/office/drawing/2014/main" id="{7FBA49AB-6CEC-4FD4-BC83-AAA980BDE5D7}"/>
              </a:ext>
            </a:extLst>
          </p:cNvPr>
          <p:cNvSpPr txBox="1">
            <a:spLocks/>
          </p:cNvSpPr>
          <p:nvPr/>
        </p:nvSpPr>
        <p:spPr bwMode="auto">
          <a:xfrm>
            <a:off x="0" y="3429000"/>
            <a:ext cx="9144000" cy="1655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fontAlgn="base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997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-related rule cha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9CB41-8439-4DDA-A354-FE90E33825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286250"/>
          </a:xfrm>
        </p:spPr>
        <p:txBody>
          <a:bodyPr>
            <a:normAutofit/>
          </a:bodyPr>
          <a:lstStyle/>
          <a:p>
            <a:r>
              <a:rPr lang="en-US" dirty="0"/>
              <a:t>Vaccination requirements for health care workers in healthcare settings (333-019-1010)</a:t>
            </a:r>
          </a:p>
          <a:p>
            <a:pPr lvl="1"/>
            <a:r>
              <a:rPr lang="en-US" dirty="0"/>
              <a:t>Suspended by temporary rule May 11, 2023</a:t>
            </a:r>
          </a:p>
          <a:p>
            <a:pPr lvl="1"/>
            <a:r>
              <a:rPr lang="en-US" dirty="0"/>
              <a:t>Permanent rule (repeal) proposed, effective June 30, 2023</a:t>
            </a:r>
          </a:p>
          <a:p>
            <a:r>
              <a:rPr lang="en-US" dirty="0"/>
              <a:t>Vaccination requirements for teachers &amp; school staff (333-019-1030)</a:t>
            </a:r>
          </a:p>
          <a:p>
            <a:pPr lvl="1"/>
            <a:r>
              <a:rPr lang="en-US" dirty="0"/>
              <a:t>Suspended by temporary rule effective June 17, 2023</a:t>
            </a:r>
          </a:p>
          <a:p>
            <a:pPr lvl="1"/>
            <a:r>
              <a:rPr lang="en-US" dirty="0"/>
              <a:t>Permanent rule (repeal) proposed, effective June 30, 2023</a:t>
            </a:r>
          </a:p>
          <a:p>
            <a:r>
              <a:rPr lang="en-US" dirty="0"/>
              <a:t>COVID-19 reporting requirements </a:t>
            </a:r>
          </a:p>
          <a:p>
            <a:pPr lvl="1"/>
            <a:r>
              <a:rPr lang="en-US" dirty="0"/>
              <a:t>Permanent rule proposed, effective June 30, 2023</a:t>
            </a:r>
          </a:p>
          <a:p>
            <a:pPr lvl="1"/>
            <a:r>
              <a:rPr lang="en-US" dirty="0"/>
              <a:t>Reporting of cases, laboratory tests, hospitalizations, deaths in adults to be repealed</a:t>
            </a:r>
          </a:p>
          <a:p>
            <a:pPr lvl="1"/>
            <a:r>
              <a:rPr lang="en-US" dirty="0"/>
              <a:t>Reporting of MIS-C and deaths in children will still be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9929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d of federal PHE cha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9CB41-8439-4DDA-A354-FE90E33825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2" y="1417639"/>
            <a:ext cx="8229600" cy="4532995"/>
          </a:xfrm>
        </p:spPr>
        <p:txBody>
          <a:bodyPr>
            <a:normAutofit fontScale="92500" lnSpcReduction="10000"/>
          </a:bodyPr>
          <a:lstStyle/>
          <a:p>
            <a:r>
              <a:rPr lang="en-US" sz="2400" dirty="0"/>
              <a:t>Testing</a:t>
            </a:r>
          </a:p>
          <a:p>
            <a:pPr lvl="1"/>
            <a:r>
              <a:rPr lang="en-US" dirty="0"/>
              <a:t>Medicare: Part B will cover if ordered by provider; no free OTC tests</a:t>
            </a:r>
          </a:p>
          <a:p>
            <a:pPr lvl="1"/>
            <a:r>
              <a:rPr lang="en-US" dirty="0"/>
              <a:t>Medicaid: will cover without cost sharing until September 30, 2024</a:t>
            </a:r>
          </a:p>
          <a:p>
            <a:pPr lvl="1"/>
            <a:r>
              <a:rPr lang="en-US" dirty="0"/>
              <a:t>Private insurance: requirement to cover OTC &amp; lab tests will end. Insurance companies may cover.</a:t>
            </a:r>
            <a:endParaRPr lang="en-US" dirty="0">
              <a:solidFill>
                <a:srgbClr val="005A9E"/>
              </a:solidFill>
            </a:endParaRPr>
          </a:p>
          <a:p>
            <a:r>
              <a:rPr lang="en-US" sz="2400" dirty="0">
                <a:solidFill>
                  <a:srgbClr val="005A9E"/>
                </a:solidFill>
              </a:rPr>
              <a:t>Vaccinations and therapeutics</a:t>
            </a:r>
          </a:p>
          <a:p>
            <a:pPr lvl="1"/>
            <a:r>
              <a:rPr lang="en-US" dirty="0">
                <a:solidFill>
                  <a:srgbClr val="005A9E"/>
                </a:solidFill>
              </a:rPr>
              <a:t>EUAs not affected</a:t>
            </a:r>
          </a:p>
          <a:p>
            <a:pPr lvl="1"/>
            <a:r>
              <a:rPr lang="en-US" dirty="0">
                <a:solidFill>
                  <a:srgbClr val="005A9E"/>
                </a:solidFill>
              </a:rPr>
              <a:t>Access to nirmatrelvir/ritonavir (Paxlovid) &amp; molnupiravir (</a:t>
            </a:r>
            <a:r>
              <a:rPr lang="en-US" dirty="0" err="1">
                <a:solidFill>
                  <a:srgbClr val="005A9E"/>
                </a:solidFill>
              </a:rPr>
              <a:t>Lagevrio</a:t>
            </a:r>
            <a:r>
              <a:rPr lang="en-US" dirty="0">
                <a:solidFill>
                  <a:srgbClr val="005A9E"/>
                </a:solidFill>
              </a:rPr>
              <a:t>) not affected immediately; transition to traditional healthcare coverage later this year</a:t>
            </a:r>
          </a:p>
          <a:p>
            <a:pPr lvl="1"/>
            <a:r>
              <a:rPr lang="en-US" dirty="0">
                <a:solidFill>
                  <a:srgbClr val="005A9E"/>
                </a:solidFill>
              </a:rPr>
              <a:t>Vaccinations</a:t>
            </a:r>
          </a:p>
          <a:p>
            <a:pPr lvl="2"/>
            <a:r>
              <a:rPr lang="en-US" sz="1800" dirty="0">
                <a:solidFill>
                  <a:srgbClr val="005A9E"/>
                </a:solidFill>
              </a:rPr>
              <a:t>Transition to traditional healthcare coverage later this year; insurance will be required to cover</a:t>
            </a:r>
          </a:p>
          <a:p>
            <a:pPr lvl="2"/>
            <a:r>
              <a:rPr lang="en-US" sz="1800" dirty="0">
                <a:solidFill>
                  <a:srgbClr val="005A9E"/>
                </a:solidFill>
              </a:rPr>
              <a:t>Medicare: will still be covered under Part B</a:t>
            </a:r>
          </a:p>
          <a:p>
            <a:pPr lvl="2"/>
            <a:r>
              <a:rPr lang="en-US" sz="1800" dirty="0">
                <a:solidFill>
                  <a:srgbClr val="005A9E"/>
                </a:solidFill>
              </a:rPr>
              <a:t>Medicaid: no co-pay or cost sharing through September 30, 2024</a:t>
            </a:r>
            <a:endParaRPr lang="en-US" sz="18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59574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d of federal PHE cha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9CB41-8439-4DDA-A354-FE90E33825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85911"/>
            <a:ext cx="8229600" cy="4443413"/>
          </a:xfrm>
        </p:spPr>
        <p:txBody>
          <a:bodyPr>
            <a:noAutofit/>
          </a:bodyPr>
          <a:lstStyle/>
          <a:p>
            <a:pPr>
              <a:spcBef>
                <a:spcPts val="1800"/>
              </a:spcBef>
            </a:pPr>
            <a:r>
              <a:rPr lang="en-US" sz="2600" dirty="0">
                <a:solidFill>
                  <a:srgbClr val="005A9E"/>
                </a:solidFill>
              </a:rPr>
              <a:t>1135 waivers (</a:t>
            </a:r>
            <a:r>
              <a:rPr lang="en-US" sz="2600" i="0" u="none" strike="noStrike" baseline="0" dirty="0">
                <a:solidFill>
                  <a:srgbClr val="005A9E"/>
                </a:solidFill>
              </a:rPr>
              <a:t>allow providers to establish alternative care sites, ease practice across state lines, expand Medicare telehealth coverage, suspend federal oversight and reporting requirements, etc.) </a:t>
            </a:r>
          </a:p>
          <a:p>
            <a:pPr lvl="1">
              <a:spcBef>
                <a:spcPts val="1800"/>
              </a:spcBef>
            </a:pPr>
            <a:r>
              <a:rPr lang="en-US" sz="2400" dirty="0">
                <a:solidFill>
                  <a:srgbClr val="005A9E"/>
                </a:solidFill>
              </a:rPr>
              <a:t>E</a:t>
            </a:r>
            <a:r>
              <a:rPr lang="en-US" sz="2400" i="0" u="none" strike="noStrike" baseline="0" dirty="0">
                <a:solidFill>
                  <a:srgbClr val="005A9E"/>
                </a:solidFill>
              </a:rPr>
              <a:t>xpire September 30, 2024 </a:t>
            </a:r>
          </a:p>
          <a:p>
            <a:pPr>
              <a:spcBef>
                <a:spcPts val="1800"/>
              </a:spcBef>
            </a:pPr>
            <a:r>
              <a:rPr lang="en-US" sz="2600" i="0" u="none" strike="noStrike" baseline="0" dirty="0">
                <a:solidFill>
                  <a:srgbClr val="005A9E"/>
                </a:solidFill>
              </a:rPr>
              <a:t>Required coverage with no cost sharing of COVID-19 vaccine for Medicaid and CHIP populations; 100% federal match for COVID-19 vaccines</a:t>
            </a:r>
            <a:endParaRPr lang="en-US" sz="2600" dirty="0">
              <a:solidFill>
                <a:srgbClr val="005A9E"/>
              </a:solidFill>
            </a:endParaRPr>
          </a:p>
          <a:p>
            <a:pPr lvl="1">
              <a:spcBef>
                <a:spcPts val="1800"/>
              </a:spcBef>
            </a:pPr>
            <a:r>
              <a:rPr lang="en-US" sz="2400" i="0" u="none" strike="noStrike" baseline="0" dirty="0">
                <a:solidFill>
                  <a:srgbClr val="005A9E"/>
                </a:solidFill>
              </a:rPr>
              <a:t>Expires 9/30/2024.</a:t>
            </a:r>
          </a:p>
          <a:p>
            <a:pPr>
              <a:spcBef>
                <a:spcPts val="1800"/>
              </a:spcBef>
            </a:pPr>
            <a:endParaRPr lang="en-US" sz="2600" i="0" u="none" strike="noStrike" baseline="0" dirty="0">
              <a:solidFill>
                <a:srgbClr val="005A9E"/>
              </a:solidFill>
            </a:endParaRPr>
          </a:p>
          <a:p>
            <a:pPr>
              <a:spcBef>
                <a:spcPts val="1800"/>
              </a:spcBef>
            </a:pPr>
            <a:r>
              <a:rPr lang="en-US" sz="2600" i="0" u="none" strike="noStrike" baseline="0" dirty="0">
                <a:solidFill>
                  <a:srgbClr val="005A9E"/>
                </a:solidFill>
              </a:rPr>
              <a:t>	</a:t>
            </a:r>
          </a:p>
          <a:p>
            <a:pPr>
              <a:spcBef>
                <a:spcPts val="1800"/>
              </a:spcBef>
            </a:pPr>
            <a:endParaRPr lang="en-US" sz="26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30735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ield Operations clos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9CB41-8439-4DDA-A354-FE90E33825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On June 30, 2023, the Field Operations team will close</a:t>
            </a:r>
          </a:p>
          <a:p>
            <a:r>
              <a:rPr lang="en-US" dirty="0"/>
              <a:t>Intent to transition COVID-19-related testing to the health care system</a:t>
            </a:r>
          </a:p>
          <a:p>
            <a:pPr lvl="1"/>
            <a:r>
              <a:rPr lang="en-US" dirty="0"/>
              <a:t>Testing for COVID-19 widely available through traditional channels</a:t>
            </a:r>
          </a:p>
          <a:p>
            <a:r>
              <a:rPr lang="en-US" dirty="0"/>
              <a:t>OHA will no longer be able to support specimen collection</a:t>
            </a:r>
          </a:p>
          <a:p>
            <a:r>
              <a:rPr lang="en-US" dirty="0"/>
              <a:t>OSPHL will have very limited testing availability which will require epidemiologist approval and will be based on public health significa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1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874314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esting 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9CB41-8439-4DDA-A354-FE90E33825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876800"/>
          </a:xfrm>
        </p:spPr>
        <p:txBody>
          <a:bodyPr>
            <a:normAutofit/>
          </a:bodyPr>
          <a:lstStyle/>
          <a:p>
            <a:r>
              <a:rPr lang="en-US" dirty="0"/>
              <a:t>Primary resource is the health care system </a:t>
            </a:r>
          </a:p>
          <a:p>
            <a:pPr lvl="1"/>
            <a:r>
              <a:rPr lang="en-US" dirty="0"/>
              <a:t>Reimbursement mechanisms in place</a:t>
            </a:r>
          </a:p>
          <a:p>
            <a:pPr lvl="1"/>
            <a:r>
              <a:rPr lang="en-US" dirty="0"/>
              <a:t>Partners serving those without health insurance are eligible for free OHA testing resources</a:t>
            </a:r>
          </a:p>
          <a:p>
            <a:r>
              <a:rPr lang="en-US" dirty="0"/>
              <a:t>OHA will continue to distribute COVID-19 rapid point-of-care tests to priority partners until July 31, 2024</a:t>
            </a:r>
          </a:p>
          <a:p>
            <a:pPr lvl="1"/>
            <a:r>
              <a:rPr lang="en-US" dirty="0"/>
              <a:t>Includes LPHAs, tribal partners, residential congregate facilities</a:t>
            </a:r>
          </a:p>
          <a:p>
            <a:pPr lvl="1"/>
            <a:r>
              <a:rPr lang="en-US" dirty="0"/>
              <a:t>Strongly encourage all residential congregate facilities to request these tests which must be used under a </a:t>
            </a:r>
            <a:r>
              <a:rPr lang="en-US" dirty="0">
							</a:rPr>
              <a:t>CLIA certificate of waiver</a:t>
            </a:r>
            <a:endParaRPr lang="en-US" dirty="0"/>
          </a:p>
          <a:p>
            <a:r>
              <a:rPr lang="en-US" dirty="0"/>
              <a:t>OHA will continue to distribute COVID-19 self-tests to priority partners until current supply is exhausted</a:t>
            </a:r>
          </a:p>
          <a:p>
            <a:pPr lvl="1"/>
            <a:r>
              <a:rPr lang="en-US" dirty="0"/>
              <a:t>These tests must be used under a </a:t>
            </a:r>
            <a:r>
              <a:rPr lang="en-US" dirty="0">
							</a:rPr>
              <a:t>CLIA certificate of waiver</a:t>
            </a:r>
            <a:r>
              <a:rPr lang="en-US" dirty="0"/>
              <a:t> when administered on others</a:t>
            </a: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1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495802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Variant influenza surveillance outside of the influenza seas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9CB41-8439-4DDA-A354-FE90E33825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876800"/>
          </a:xfrm>
        </p:spPr>
        <p:txBody>
          <a:bodyPr>
            <a:normAutofit/>
          </a:bodyPr>
          <a:lstStyle/>
          <a:p>
            <a:r>
              <a:rPr lang="en-US" dirty="0"/>
              <a:t>HAN to be released today</a:t>
            </a:r>
          </a:p>
          <a:p>
            <a:r>
              <a:rPr lang="en-US" dirty="0"/>
              <a:t>Expands several current recommendations </a:t>
            </a:r>
          </a:p>
          <a:p>
            <a:pPr lvl="1"/>
            <a:r>
              <a:rPr lang="en-US" dirty="0"/>
              <a:t>All patients seeking care for ILI outside of the influenza season should be asked about fair attendance, pig exposure </a:t>
            </a:r>
            <a:r>
              <a:rPr lang="en-US" b="1" i="1" dirty="0"/>
              <a:t>and contact with sick birds</a:t>
            </a:r>
          </a:p>
          <a:p>
            <a:pPr lvl="1"/>
            <a:r>
              <a:rPr lang="en-US" dirty="0"/>
              <a:t>Individuals with these exposures should have NP collected for testing at OSPHL</a:t>
            </a:r>
          </a:p>
          <a:p>
            <a:r>
              <a:rPr lang="en-US" dirty="0"/>
              <a:t>Highlights current recommendation regarding antivirals</a:t>
            </a:r>
          </a:p>
          <a:p>
            <a:pPr lvl="1"/>
            <a:r>
              <a:rPr lang="en-US" dirty="0"/>
              <a:t>Empiric antiviral treatment for all patients with possible infection with novel influenza A viruses</a:t>
            </a:r>
          </a:p>
          <a:p>
            <a:pPr lvl="1"/>
            <a:r>
              <a:rPr lang="en-US" dirty="0"/>
              <a:t>Antiviral treatment should be based on exposure risk factors and not be withheld or delayed pending collection of specimens or laboratory testing</a:t>
            </a:r>
          </a:p>
          <a:p>
            <a:r>
              <a:rPr lang="en-US" dirty="0"/>
              <a:t>Expands current surveillance of hospitalized specimens</a:t>
            </a:r>
          </a:p>
          <a:p>
            <a:pPr lvl="1"/>
            <a:r>
              <a:rPr lang="en-US" dirty="0"/>
              <a:t>Prioritize submission of ICU specime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100665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9CB41-8439-4DDA-A354-FE90E33825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OVID-19 epi briefing</a:t>
            </a:r>
          </a:p>
          <a:p>
            <a:r>
              <a:rPr lang="en-US" dirty="0"/>
              <a:t>COVID-19 Investigative Guidelines changes</a:t>
            </a:r>
          </a:p>
          <a:p>
            <a:pPr lvl="1"/>
            <a:r>
              <a:rPr lang="en-US" dirty="0"/>
              <a:t>COVID-19 laboratory reporting</a:t>
            </a:r>
          </a:p>
          <a:p>
            <a:pPr lvl="1"/>
            <a:r>
              <a:rPr lang="en-US" dirty="0"/>
              <a:t>Isolation in general population including K-12</a:t>
            </a:r>
          </a:p>
          <a:p>
            <a:pPr lvl="1"/>
            <a:r>
              <a:rPr lang="en-US" dirty="0"/>
              <a:t>School exclusion</a:t>
            </a:r>
          </a:p>
          <a:p>
            <a:r>
              <a:rPr lang="en-US" dirty="0"/>
              <a:t>COVID-19 vaccination mandates in health care and K-12</a:t>
            </a:r>
          </a:p>
          <a:p>
            <a:r>
              <a:rPr lang="en-US" dirty="0"/>
              <a:t>End of the federal PHE coverage changes</a:t>
            </a:r>
          </a:p>
          <a:p>
            <a:r>
              <a:rPr lang="en-US" dirty="0"/>
              <a:t>Field Operations closure</a:t>
            </a:r>
          </a:p>
          <a:p>
            <a:r>
              <a:rPr lang="en-US" dirty="0"/>
              <a:t>Influenza surveillance during the off-seas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882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40F34966-A747-4CCF-E8D7-27E270CB44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62709" y="1218882"/>
            <a:ext cx="6077242" cy="5172891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epi brief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22697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community transmissio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2A991E2-54D4-D1DA-513F-2BD31EAE95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-34899" y="1665287"/>
            <a:ext cx="9178899" cy="3458157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7777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community transmis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EF4DDB-C76C-4A57-8281-A7496243C9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6F07E3-4E47-CA5D-8613-155394778D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529" y="1143000"/>
            <a:ext cx="7884942" cy="4724538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23A0DCA5-724C-4179-8F06-EB073BBCB863}"/>
              </a:ext>
            </a:extLst>
          </p:cNvPr>
          <p:cNvSpPr/>
          <p:nvPr/>
        </p:nvSpPr>
        <p:spPr bwMode="auto">
          <a:xfrm>
            <a:off x="304800" y="4731433"/>
            <a:ext cx="8534400" cy="1364567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067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community transmis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46334A1-17D9-4206-DD11-E562A2A2048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9081" y="1290417"/>
            <a:ext cx="8965838" cy="4277166"/>
          </a:xfrm>
        </p:spPr>
      </p:pic>
    </p:spTree>
    <p:extLst>
      <p:ext uri="{BB962C8B-B14F-4D97-AF65-F5344CB8AC3E}">
        <p14:creationId xmlns:p14="http://schemas.microsoft.com/office/powerpoint/2010/main" val="42082063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hospitaliz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DF5C8A6-120B-F980-9695-CE1EEE66E1A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57200" y="1266156"/>
            <a:ext cx="6576646" cy="5098620"/>
          </a:xfrm>
        </p:spPr>
      </p:pic>
    </p:spTree>
    <p:extLst>
      <p:ext uri="{BB962C8B-B14F-4D97-AF65-F5344CB8AC3E}">
        <p14:creationId xmlns:p14="http://schemas.microsoft.com/office/powerpoint/2010/main" val="19102776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death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CADEF4-9D93-B9BE-EBC1-E1D0531F65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7112D8-0C92-5F87-34F5-56BA1E0AA6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776" y="1600200"/>
            <a:ext cx="8796447" cy="3236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1400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IG cha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9CB41-8439-4DDA-A354-FE90E33825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OVID-19 laboratory reporting</a:t>
            </a:r>
          </a:p>
          <a:p>
            <a:pPr lvl="1"/>
            <a:r>
              <a:rPr lang="en-US" dirty="0"/>
              <a:t>COVID-19 laboratory tests no longer reportable</a:t>
            </a:r>
          </a:p>
          <a:p>
            <a:pPr lvl="1"/>
            <a:r>
              <a:rPr lang="en-US" dirty="0"/>
              <a:t>Permanent rulemaking initiated</a:t>
            </a:r>
          </a:p>
          <a:p>
            <a:pPr lvl="1"/>
            <a:r>
              <a:rPr lang="en-US" dirty="0"/>
              <a:t>Will not be enforced effective May 11, 2023</a:t>
            </a:r>
          </a:p>
          <a:p>
            <a:r>
              <a:rPr lang="en-US" dirty="0"/>
              <a:t>Isolation in general population including K-12</a:t>
            </a:r>
          </a:p>
          <a:p>
            <a:pPr lvl="1"/>
            <a:r>
              <a:rPr lang="en-US" dirty="0"/>
              <a:t>Stay home until 24 hours fever-free and symptoms improving</a:t>
            </a:r>
          </a:p>
          <a:p>
            <a:pPr lvl="1"/>
            <a:r>
              <a:rPr lang="en-US" dirty="0"/>
              <a:t>Mask for 10 days</a:t>
            </a:r>
          </a:p>
          <a:p>
            <a:pPr lvl="1"/>
            <a:r>
              <a:rPr lang="en-US" dirty="0"/>
              <a:t>Avoid at-risk individuals</a:t>
            </a:r>
          </a:p>
          <a:p>
            <a:r>
              <a:rPr lang="en-US" dirty="0"/>
              <a:t>School exclusion</a:t>
            </a:r>
          </a:p>
          <a:p>
            <a:pPr lvl="1"/>
            <a:r>
              <a:rPr lang="en-US" dirty="0"/>
              <a:t>Removing COVID-19 from </a:t>
            </a:r>
            <a:r>
              <a:rPr lang="en-US" dirty="0" err="1"/>
              <a:t>restrictable</a:t>
            </a:r>
            <a:r>
              <a:rPr lang="en-US" dirty="0"/>
              <a:t> conditions list</a:t>
            </a:r>
          </a:p>
          <a:p>
            <a:pPr lvl="1"/>
            <a:r>
              <a:rPr lang="en-US" dirty="0"/>
              <a:t>Permanent rulemaking initiated</a:t>
            </a:r>
          </a:p>
          <a:p>
            <a:pPr lvl="1"/>
            <a:r>
              <a:rPr lang="en-US" dirty="0"/>
              <a:t>ODE documents will be updated once IG changes reviewed/finaliz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88454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7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8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E6D779B6FFC83478B98F9B3B58D289E" ma:contentTypeVersion="6" ma:contentTypeDescription="Create a new document." ma:contentTypeScope="" ma:versionID="cdc4c518939f72895845a1ea7b5c3b56">
  <xsd:schema xmlns:xsd="http://www.w3.org/2001/XMLSchema" xmlns:xs="http://www.w3.org/2001/XMLSchema" xmlns:p="http://schemas.microsoft.com/office/2006/metadata/properties" xmlns:ns3="18c512f8-6ae3-4fa5-87de-0fde3cbac27e" targetNamespace="http://schemas.microsoft.com/office/2006/metadata/properties" ma:root="true" ma:fieldsID="4642ed3397f604e27d2d8e60201f7cef" ns3:_="">
    <xsd:import namespace="18c512f8-6ae3-4fa5-87de-0fde3cbac27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c512f8-6ae3-4fa5-87de-0fde3cbac2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AB9560-79BE-4F97-93E6-E90A51FE6729}">
  <ds:schemaRefs>
    <ds:schemaRef ds:uri="http://purl.org/dc/elements/1.1/"/>
    <ds:schemaRef ds:uri="http://schemas.microsoft.com/office/2006/metadata/properties"/>
    <ds:schemaRef ds:uri="18c512f8-6ae3-4fa5-87de-0fde3cbac27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2A0B95F-ABAB-43A8-B397-8186E9C4B7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c512f8-6ae3-4fa5-87de-0fde3cbac2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B61E2F6-3DC9-47B0-AE35-7D04E11A3EB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5043</TotalTime>
  <Words>1038</Words>
  <Application>Microsoft Office PowerPoint</Application>
  <PresentationFormat>On-screen Show (4:3)</PresentationFormat>
  <Paragraphs>125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0" baseType="lpstr">
      <vt:lpstr>Arial</vt:lpstr>
      <vt:lpstr>Calibri</vt:lpstr>
      <vt:lpstr>Chronicle Display Black</vt:lpstr>
      <vt:lpstr>Franklin Gothic Medium</vt:lpstr>
      <vt:lpstr>Open Sans</vt:lpstr>
      <vt:lpstr>Times</vt:lpstr>
      <vt:lpstr>Custom Design</vt:lpstr>
      <vt:lpstr>1_Custom Design</vt:lpstr>
      <vt:lpstr>2_Custom Design</vt:lpstr>
      <vt:lpstr>3_Custom Design</vt:lpstr>
      <vt:lpstr>5_Custom Design</vt:lpstr>
      <vt:lpstr>6_Custom Design</vt:lpstr>
      <vt:lpstr>7_Custom Design</vt:lpstr>
      <vt:lpstr>8_Custom Design</vt:lpstr>
      <vt:lpstr>think-cell Slide</vt:lpstr>
      <vt:lpstr> Updates related to the PHE Ending</vt:lpstr>
      <vt:lpstr>Agenda</vt:lpstr>
      <vt:lpstr>COVID-19 epi briefing</vt:lpstr>
      <vt:lpstr>COVID-19 community transmission</vt:lpstr>
      <vt:lpstr>COVID-19 community transmission</vt:lpstr>
      <vt:lpstr>COVID-19 community transmission</vt:lpstr>
      <vt:lpstr>COVID-19 hospitalizations</vt:lpstr>
      <vt:lpstr>COVID-19 deaths</vt:lpstr>
      <vt:lpstr>COVID-19 IG changes</vt:lpstr>
      <vt:lpstr>COVID-19-related rule changes</vt:lpstr>
      <vt:lpstr>End of federal PHE changes</vt:lpstr>
      <vt:lpstr>End of federal PHE changes</vt:lpstr>
      <vt:lpstr>Field Operations closure</vt:lpstr>
      <vt:lpstr>Testing resources</vt:lpstr>
      <vt:lpstr>Variant influenza surveillance outside of the influenza seas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ief Update:  Vaccine Planning for MSFW, Agricultural Workers and Seafood and Food Processing Workers</dc:title>
  <dc:creator>Hargunani Dana</dc:creator>
  <cp:lastModifiedBy>Sutton Melissa</cp:lastModifiedBy>
  <cp:revision>519</cp:revision>
  <dcterms:created xsi:type="dcterms:W3CDTF">2021-03-16T03:59:52Z</dcterms:created>
  <dcterms:modified xsi:type="dcterms:W3CDTF">2023-05-12T18:0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6D779B6FFC83478B98F9B3B58D289E</vt:lpwstr>
  </property>
</Properties>
</file>